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12EA0D1-5694-4C7A-860E-00391FD365FE}" v="49" dt="2023-03-11T20:05:46.61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32" y="750"/>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F12EA0D1-5694-4C7A-860E-00391FD365FE}"/>
    <pc:docChg chg="modSld">
      <pc:chgData name="Roberto Gallardo" userId="49a044883f185952" providerId="LiveId" clId="{F12EA0D1-5694-4C7A-860E-00391FD365FE}" dt="2023-03-11T20:05:55.621" v="334" actId="1035"/>
      <pc:docMkLst>
        <pc:docMk/>
      </pc:docMkLst>
      <pc:sldChg chg="addSp modSp mod">
        <pc:chgData name="Roberto Gallardo" userId="49a044883f185952" providerId="LiveId" clId="{F12EA0D1-5694-4C7A-860E-00391FD365FE}" dt="2023-03-11T19:59:54.650" v="14" actId="1076"/>
        <pc:sldMkLst>
          <pc:docMk/>
          <pc:sldMk cId="1418533539" sldId="271"/>
        </pc:sldMkLst>
        <pc:picChg chg="add mod">
          <ac:chgData name="Roberto Gallardo" userId="49a044883f185952" providerId="LiveId" clId="{F12EA0D1-5694-4C7A-860E-00391FD365FE}" dt="2023-03-11T19:59:54.650" v="14" actId="1076"/>
          <ac:picMkLst>
            <pc:docMk/>
            <pc:sldMk cId="1418533539" sldId="271"/>
            <ac:picMk id="6" creationId="{E5D66020-750D-A5EC-039C-CBED7B178BFB}"/>
          </ac:picMkLst>
        </pc:picChg>
      </pc:sldChg>
      <pc:sldChg chg="addSp modSp mod">
        <pc:chgData name="Roberto Gallardo" userId="49a044883f185952" providerId="LiveId" clId="{F12EA0D1-5694-4C7A-860E-00391FD365FE}" dt="2023-03-11T20:01:53.944" v="76" actId="1076"/>
        <pc:sldMkLst>
          <pc:docMk/>
          <pc:sldMk cId="2124848710" sldId="281"/>
        </pc:sldMkLst>
        <pc:picChg chg="add mod">
          <ac:chgData name="Roberto Gallardo" userId="49a044883f185952" providerId="LiveId" clId="{F12EA0D1-5694-4C7A-860E-00391FD365FE}" dt="2023-03-11T20:01:53.944" v="76" actId="1076"/>
          <ac:picMkLst>
            <pc:docMk/>
            <pc:sldMk cId="2124848710" sldId="281"/>
            <ac:picMk id="6" creationId="{A32DCA71-8281-9DA8-B76F-AB90913FD1B3}"/>
          </ac:picMkLst>
        </pc:picChg>
      </pc:sldChg>
      <pc:sldChg chg="addSp modSp mod">
        <pc:chgData name="Roberto Gallardo" userId="49a044883f185952" providerId="LiveId" clId="{F12EA0D1-5694-4C7A-860E-00391FD365FE}" dt="2023-03-11T20:02:13.261" v="99" actId="1035"/>
        <pc:sldMkLst>
          <pc:docMk/>
          <pc:sldMk cId="2028175529" sldId="282"/>
        </pc:sldMkLst>
        <pc:picChg chg="add mod">
          <ac:chgData name="Roberto Gallardo" userId="49a044883f185952" providerId="LiveId" clId="{F12EA0D1-5694-4C7A-860E-00391FD365FE}" dt="2023-03-11T20:02:13.261" v="99" actId="1035"/>
          <ac:picMkLst>
            <pc:docMk/>
            <pc:sldMk cId="2028175529" sldId="282"/>
            <ac:picMk id="7" creationId="{025899D6-032C-0044-0A5B-CEAE36C47547}"/>
          </ac:picMkLst>
        </pc:picChg>
      </pc:sldChg>
      <pc:sldChg chg="addSp modSp mod">
        <pc:chgData name="Roberto Gallardo" userId="49a044883f185952" providerId="LiveId" clId="{F12EA0D1-5694-4C7A-860E-00391FD365FE}" dt="2023-03-11T20:02:29.782" v="108" actId="1035"/>
        <pc:sldMkLst>
          <pc:docMk/>
          <pc:sldMk cId="1326517747" sldId="283"/>
        </pc:sldMkLst>
        <pc:picChg chg="add mod">
          <ac:chgData name="Roberto Gallardo" userId="49a044883f185952" providerId="LiveId" clId="{F12EA0D1-5694-4C7A-860E-00391FD365FE}" dt="2023-03-11T20:02:29.782" v="108" actId="1035"/>
          <ac:picMkLst>
            <pc:docMk/>
            <pc:sldMk cId="1326517747" sldId="283"/>
            <ac:picMk id="7" creationId="{53E10B7B-9FF3-0D90-CF3F-3F189BF936EF}"/>
          </ac:picMkLst>
        </pc:picChg>
      </pc:sldChg>
      <pc:sldChg chg="addSp modSp mod">
        <pc:chgData name="Roberto Gallardo" userId="49a044883f185952" providerId="LiveId" clId="{F12EA0D1-5694-4C7A-860E-00391FD365FE}" dt="2023-03-11T20:02:47.838" v="118" actId="1036"/>
        <pc:sldMkLst>
          <pc:docMk/>
          <pc:sldMk cId="783739251" sldId="284"/>
        </pc:sldMkLst>
        <pc:picChg chg="add mod">
          <ac:chgData name="Roberto Gallardo" userId="49a044883f185952" providerId="LiveId" clId="{F12EA0D1-5694-4C7A-860E-00391FD365FE}" dt="2023-03-11T20:02:47.838" v="118" actId="1036"/>
          <ac:picMkLst>
            <pc:docMk/>
            <pc:sldMk cId="783739251" sldId="284"/>
            <ac:picMk id="7" creationId="{E191D03E-4209-590D-9C83-3B92DA775D77}"/>
          </ac:picMkLst>
        </pc:picChg>
      </pc:sldChg>
      <pc:sldChg chg="addSp modSp mod">
        <pc:chgData name="Roberto Gallardo" userId="49a044883f185952" providerId="LiveId" clId="{F12EA0D1-5694-4C7A-860E-00391FD365FE}" dt="2023-03-11T20:03:12.525" v="133" actId="1036"/>
        <pc:sldMkLst>
          <pc:docMk/>
          <pc:sldMk cId="1676122233" sldId="285"/>
        </pc:sldMkLst>
        <pc:picChg chg="add mod">
          <ac:chgData name="Roberto Gallardo" userId="49a044883f185952" providerId="LiveId" clId="{F12EA0D1-5694-4C7A-860E-00391FD365FE}" dt="2023-03-11T20:03:12.525" v="133" actId="1036"/>
          <ac:picMkLst>
            <pc:docMk/>
            <pc:sldMk cId="1676122233" sldId="285"/>
            <ac:picMk id="7" creationId="{5703D2B4-4BA2-A19A-985A-09856700A1F4}"/>
          </ac:picMkLst>
        </pc:picChg>
      </pc:sldChg>
      <pc:sldChg chg="addSp modSp mod">
        <pc:chgData name="Roberto Gallardo" userId="49a044883f185952" providerId="LiveId" clId="{F12EA0D1-5694-4C7A-860E-00391FD365FE}" dt="2023-03-11T20:03:33.221" v="157" actId="1036"/>
        <pc:sldMkLst>
          <pc:docMk/>
          <pc:sldMk cId="3100398757" sldId="286"/>
        </pc:sldMkLst>
        <pc:picChg chg="add mod">
          <ac:chgData name="Roberto Gallardo" userId="49a044883f185952" providerId="LiveId" clId="{F12EA0D1-5694-4C7A-860E-00391FD365FE}" dt="2023-03-11T20:03:33.221" v="157" actId="1036"/>
          <ac:picMkLst>
            <pc:docMk/>
            <pc:sldMk cId="3100398757" sldId="286"/>
            <ac:picMk id="7" creationId="{D2617DC4-6B57-DC5F-ADA5-1EB4E196E8A0}"/>
          </ac:picMkLst>
        </pc:picChg>
      </pc:sldChg>
      <pc:sldChg chg="addSp modSp mod">
        <pc:chgData name="Roberto Gallardo" userId="49a044883f185952" providerId="LiveId" clId="{F12EA0D1-5694-4C7A-860E-00391FD365FE}" dt="2023-03-11T20:04:03.949" v="177" actId="1036"/>
        <pc:sldMkLst>
          <pc:docMk/>
          <pc:sldMk cId="1546475425" sldId="287"/>
        </pc:sldMkLst>
        <pc:picChg chg="add mod">
          <ac:chgData name="Roberto Gallardo" userId="49a044883f185952" providerId="LiveId" clId="{F12EA0D1-5694-4C7A-860E-00391FD365FE}" dt="2023-03-11T20:04:03.949" v="177" actId="1036"/>
          <ac:picMkLst>
            <pc:docMk/>
            <pc:sldMk cId="1546475425" sldId="287"/>
            <ac:picMk id="7" creationId="{0A9F3AF9-1263-41B7-6B1E-9D8B2D027866}"/>
          </ac:picMkLst>
        </pc:picChg>
      </pc:sldChg>
      <pc:sldChg chg="addSp modSp mod">
        <pc:chgData name="Roberto Gallardo" userId="49a044883f185952" providerId="LiveId" clId="{F12EA0D1-5694-4C7A-860E-00391FD365FE}" dt="2023-03-11T20:04:44.805" v="217" actId="1035"/>
        <pc:sldMkLst>
          <pc:docMk/>
          <pc:sldMk cId="1380517306" sldId="288"/>
        </pc:sldMkLst>
        <pc:picChg chg="add mod">
          <ac:chgData name="Roberto Gallardo" userId="49a044883f185952" providerId="LiveId" clId="{F12EA0D1-5694-4C7A-860E-00391FD365FE}" dt="2023-03-11T20:04:44.805" v="217" actId="1035"/>
          <ac:picMkLst>
            <pc:docMk/>
            <pc:sldMk cId="1380517306" sldId="288"/>
            <ac:picMk id="7" creationId="{C4A2F420-E653-7B55-D707-760B7BBE41F8}"/>
          </ac:picMkLst>
        </pc:picChg>
      </pc:sldChg>
      <pc:sldChg chg="addSp modSp mod">
        <pc:chgData name="Roberto Gallardo" userId="49a044883f185952" providerId="LiveId" clId="{F12EA0D1-5694-4C7A-860E-00391FD365FE}" dt="2023-03-11T20:05:03.510" v="244" actId="1035"/>
        <pc:sldMkLst>
          <pc:docMk/>
          <pc:sldMk cId="1388671151" sldId="289"/>
        </pc:sldMkLst>
        <pc:picChg chg="add mod">
          <ac:chgData name="Roberto Gallardo" userId="49a044883f185952" providerId="LiveId" clId="{F12EA0D1-5694-4C7A-860E-00391FD365FE}" dt="2023-03-11T20:05:03.510" v="244" actId="1035"/>
          <ac:picMkLst>
            <pc:docMk/>
            <pc:sldMk cId="1388671151" sldId="289"/>
            <ac:picMk id="7" creationId="{0A7E3A79-D8D0-CE6A-38AC-6399883B2A20}"/>
          </ac:picMkLst>
        </pc:picChg>
      </pc:sldChg>
      <pc:sldChg chg="addSp modSp mod">
        <pc:chgData name="Roberto Gallardo" userId="49a044883f185952" providerId="LiveId" clId="{F12EA0D1-5694-4C7A-860E-00391FD365FE}" dt="2023-03-11T20:05:38.967" v="304" actId="1036"/>
        <pc:sldMkLst>
          <pc:docMk/>
          <pc:sldMk cId="2355376039" sldId="290"/>
        </pc:sldMkLst>
        <pc:picChg chg="add mod">
          <ac:chgData name="Roberto Gallardo" userId="49a044883f185952" providerId="LiveId" clId="{F12EA0D1-5694-4C7A-860E-00391FD365FE}" dt="2023-03-11T20:05:38.967" v="304" actId="1036"/>
          <ac:picMkLst>
            <pc:docMk/>
            <pc:sldMk cId="2355376039" sldId="290"/>
            <ac:picMk id="8" creationId="{69E40E96-BFDC-1F29-B0B9-A3AD75720061}"/>
          </ac:picMkLst>
        </pc:picChg>
      </pc:sldChg>
      <pc:sldChg chg="addSp modSp mod">
        <pc:chgData name="Roberto Gallardo" userId="49a044883f185952" providerId="LiveId" clId="{F12EA0D1-5694-4C7A-860E-00391FD365FE}" dt="2023-03-11T20:05:55.621" v="334" actId="1035"/>
        <pc:sldMkLst>
          <pc:docMk/>
          <pc:sldMk cId="3757257295" sldId="291"/>
        </pc:sldMkLst>
        <pc:picChg chg="add mod">
          <ac:chgData name="Roberto Gallardo" userId="49a044883f185952" providerId="LiveId" clId="{F12EA0D1-5694-4C7A-860E-00391FD365FE}" dt="2023-03-11T20:05:55.621" v="334" actId="1035"/>
          <ac:picMkLst>
            <pc:docMk/>
            <pc:sldMk cId="3757257295" sldId="291"/>
            <ac:picMk id="8" creationId="{96350255-1FC3-4BD0-CF6F-7DB93D85514B}"/>
          </ac:picMkLst>
        </pc:picChg>
      </pc:sldChg>
      <pc:sldChg chg="addSp modSp mod">
        <pc:chgData name="Roberto Gallardo" userId="49a044883f185952" providerId="LiveId" clId="{F12EA0D1-5694-4C7A-860E-00391FD365FE}" dt="2023-03-11T20:04:26.885" v="186" actId="1035"/>
        <pc:sldMkLst>
          <pc:docMk/>
          <pc:sldMk cId="1259856727" sldId="292"/>
        </pc:sldMkLst>
        <pc:picChg chg="add mod">
          <ac:chgData name="Roberto Gallardo" userId="49a044883f185952" providerId="LiveId" clId="{F12EA0D1-5694-4C7A-860E-00391FD365FE}" dt="2023-03-11T20:04:26.885" v="186" actId="1035"/>
          <ac:picMkLst>
            <pc:docMk/>
            <pc:sldMk cId="1259856727" sldId="292"/>
            <ac:picMk id="7" creationId="{487A76D6-3A93-FF90-AF6F-79A11F06295A}"/>
          </ac:picMkLst>
        </pc:picChg>
      </pc:sldChg>
      <pc:sldChg chg="addSp modSp mod">
        <pc:chgData name="Roberto Gallardo" userId="49a044883f185952" providerId="LiveId" clId="{F12EA0D1-5694-4C7A-860E-00391FD365FE}" dt="2023-03-11T20:01:38.086" v="67" actId="1035"/>
        <pc:sldMkLst>
          <pc:docMk/>
          <pc:sldMk cId="3324519687" sldId="293"/>
        </pc:sldMkLst>
        <pc:picChg chg="add mod">
          <ac:chgData name="Roberto Gallardo" userId="49a044883f185952" providerId="LiveId" clId="{F12EA0D1-5694-4C7A-860E-00391FD365FE}" dt="2023-03-11T20:01:38.086" v="67" actId="1035"/>
          <ac:picMkLst>
            <pc:docMk/>
            <pc:sldMk cId="3324519687" sldId="293"/>
            <ac:picMk id="7" creationId="{31338231-8C8E-93AF-1022-97F4F73D2371}"/>
          </ac:picMkLst>
        </pc:picChg>
      </pc:sldChg>
      <pc:sldChg chg="addSp modSp mod">
        <pc:chgData name="Roberto Gallardo" userId="49a044883f185952" providerId="LiveId" clId="{F12EA0D1-5694-4C7A-860E-00391FD365FE}" dt="2023-03-11T20:00:56.029" v="39" actId="1076"/>
        <pc:sldMkLst>
          <pc:docMk/>
          <pc:sldMk cId="3256182630" sldId="295"/>
        </pc:sldMkLst>
        <pc:picChg chg="add mod">
          <ac:chgData name="Roberto Gallardo" userId="49a044883f185952" providerId="LiveId" clId="{F12EA0D1-5694-4C7A-860E-00391FD365FE}" dt="2023-03-11T20:00:56.029" v="39" actId="1076"/>
          <ac:picMkLst>
            <pc:docMk/>
            <pc:sldMk cId="3256182630" sldId="295"/>
            <ac:picMk id="7" creationId="{6C8D3EAB-EEC8-2C3C-2FC3-6FEB05E736BD}"/>
          </ac:picMkLst>
        </pc:picChg>
      </pc:sldChg>
      <pc:sldChg chg="addSp modSp mod">
        <pc:chgData name="Roberto Gallardo" userId="49a044883f185952" providerId="LiveId" clId="{F12EA0D1-5694-4C7A-860E-00391FD365FE}" dt="2023-03-11T20:01:20.357" v="50" actId="1076"/>
        <pc:sldMkLst>
          <pc:docMk/>
          <pc:sldMk cId="4057156843" sldId="296"/>
        </pc:sldMkLst>
        <pc:picChg chg="add mod">
          <ac:chgData name="Roberto Gallardo" userId="49a044883f185952" providerId="LiveId" clId="{F12EA0D1-5694-4C7A-860E-00391FD365FE}" dt="2023-03-11T20:01:20.357" v="50" actId="1076"/>
          <ac:picMkLst>
            <pc:docMk/>
            <pc:sldMk cId="4057156843" sldId="296"/>
            <ac:picMk id="7" creationId="{E0C98C26-B3B2-44BE-6B35-FAFB97038635}"/>
          </ac:picMkLst>
        </pc:picChg>
      </pc:sldChg>
      <pc:sldChg chg="addSp modSp mod">
        <pc:chgData name="Roberto Gallardo" userId="49a044883f185952" providerId="LiveId" clId="{F12EA0D1-5694-4C7A-860E-00391FD365FE}" dt="2023-03-11T20:00:30.278" v="28" actId="1076"/>
        <pc:sldMkLst>
          <pc:docMk/>
          <pc:sldMk cId="2080110827" sldId="297"/>
        </pc:sldMkLst>
        <pc:picChg chg="add mod">
          <ac:chgData name="Roberto Gallardo" userId="49a044883f185952" providerId="LiveId" clId="{F12EA0D1-5694-4C7A-860E-00391FD365FE}" dt="2023-03-11T20:00:30.278" v="28" actId="1076"/>
          <ac:picMkLst>
            <pc:docMk/>
            <pc:sldMk cId="2080110827" sldId="297"/>
            <ac:picMk id="6" creationId="{86EC53D8-D6A4-3505-0742-EC52B2EA2D42}"/>
          </ac:picMkLst>
        </pc:picChg>
      </pc:sldChg>
      <pc:sldChg chg="addSp modSp mod">
        <pc:chgData name="Roberto Gallardo" userId="49a044883f185952" providerId="LiveId" clId="{F12EA0D1-5694-4C7A-860E-00391FD365FE}" dt="2023-03-11T20:00:13.217" v="21" actId="1076"/>
        <pc:sldMkLst>
          <pc:docMk/>
          <pc:sldMk cId="1532666867" sldId="298"/>
        </pc:sldMkLst>
        <pc:picChg chg="add mod">
          <ac:chgData name="Roberto Gallardo" userId="49a044883f185952" providerId="LiveId" clId="{F12EA0D1-5694-4C7A-860E-00391FD365FE}" dt="2023-03-11T20:00:13.217" v="21" actId="1076"/>
          <ac:picMkLst>
            <pc:docMk/>
            <pc:sldMk cId="1532666867" sldId="298"/>
            <ac:picMk id="6" creationId="{21D23D3E-32FE-62C3-C391-87EFC31A1E33}"/>
          </ac:picMkLst>
        </pc:picChg>
      </pc:sldChg>
      <pc:sldChg chg="addSp modSp mod">
        <pc:chgData name="Roberto Gallardo" userId="49a044883f185952" providerId="LiveId" clId="{F12EA0D1-5694-4C7A-860E-00391FD365FE}" dt="2023-03-11T20:05:21.981" v="278" actId="1036"/>
        <pc:sldMkLst>
          <pc:docMk/>
          <pc:sldMk cId="1951376777" sldId="299"/>
        </pc:sldMkLst>
        <pc:picChg chg="add mod">
          <ac:chgData name="Roberto Gallardo" userId="49a044883f185952" providerId="LiveId" clId="{F12EA0D1-5694-4C7A-860E-00391FD365FE}" dt="2023-03-11T20:05:21.981" v="278" actId="1036"/>
          <ac:picMkLst>
            <pc:docMk/>
            <pc:sldMk cId="1951376777" sldId="299"/>
            <ac:picMk id="7" creationId="{A406CB77-6FD0-B20E-CFED-28304D5BDABB}"/>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Sampson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AEEF018-C128-A580-A892-B937B1F03662}"/>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23E324C8-033D-3486-6A75-0A93EDB5572A}"/>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E5D66020-750D-A5EC-039C-CBED7B178B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21D23D3E-32FE-62C3-C391-87EFC31A1E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86EC53D8-D6A4-3505-0742-EC52B2EA2D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335C607-18C6-7049-99E3-EFEF47069652}"/>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6C8D3EAB-EEC8-2C3C-2FC3-6FEB05E736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5" y="1415052"/>
            <a:ext cx="6400800" cy="452637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9F74DAA-EF59-0918-FC6F-1D974128D80A}"/>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E0C98C26-B3B2-44BE-6B35-FAFB970386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5" y="1413464"/>
            <a:ext cx="6400800" cy="452637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63B42A56-45C4-DC29-96CB-04016A4A6AE8}"/>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31338231-8C8E-93AF-1022-97F4F73D23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31"/>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24EB49A-39CD-CD67-A0DB-F59F6C9AB027}"/>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A32DCA71-8281-9DA8-B76F-AB90913FD1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5625" y="1411547"/>
            <a:ext cx="6403975" cy="4528617"/>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48574E85-00F3-854A-7C93-F2BCA1956220}"/>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025899D6-032C-0044-0A5B-CEAE36C475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217"/>
            <a:ext cx="6405562" cy="452973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75AD63A0-B40E-FA4F-A02B-9FFA695307CC}"/>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diagram&#10;&#10;Description automatically generated">
            <a:extLst>
              <a:ext uri="{FF2B5EF4-FFF2-40B4-BE49-F238E27FC236}">
                <a16:creationId xmlns:a16="http://schemas.microsoft.com/office/drawing/2014/main" id="{53E10B7B-9FF3-0D90-CF3F-3F189BF936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25935"/>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058E94EE-592D-BD84-73CA-550460FDB973}"/>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chart&#10;&#10;Description automatically generated">
            <a:extLst>
              <a:ext uri="{FF2B5EF4-FFF2-40B4-BE49-F238E27FC236}">
                <a16:creationId xmlns:a16="http://schemas.microsoft.com/office/drawing/2014/main" id="{E191D03E-4209-590D-9C83-3B92DA775D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7231"/>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57393A41-CF90-E97A-0ADB-CD1CA199F670}"/>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diagram&#10;&#10;Description automatically generated">
            <a:extLst>
              <a:ext uri="{FF2B5EF4-FFF2-40B4-BE49-F238E27FC236}">
                <a16:creationId xmlns:a16="http://schemas.microsoft.com/office/drawing/2014/main" id="{5703D2B4-4BA2-A19A-985A-09856700A1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5933"/>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F1CFC4CA-84AA-116D-C0CF-15AE434D43C9}"/>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2617DC4-6B57-DC5F-ADA5-1EB4E196E8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6247"/>
            <a:ext cx="6399118" cy="4525182"/>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4D02AC26-577D-619C-1E52-08846467FF0B}"/>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0A9F3AF9-1263-41B7-6B1E-9D8B2D0278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5865" y="1419493"/>
            <a:ext cx="6397204" cy="4523829"/>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FE263CEB-7698-35B0-8160-020401183257}"/>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87A76D6-3A93-FF90-AF6F-79A11F0629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27"/>
            <a:ext cx="6400801" cy="4526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0F8B117A-9611-24E5-1C81-2303322D9516}"/>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C4A2F420-E653-7B55-D707-760B7BBE41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3486"/>
            <a:ext cx="6400801"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46620526-687A-D006-1416-9F46026897A6}"/>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Chart, radar chart&#10;&#10;Description automatically generated with medium confidence">
            <a:extLst>
              <a:ext uri="{FF2B5EF4-FFF2-40B4-BE49-F238E27FC236}">
                <a16:creationId xmlns:a16="http://schemas.microsoft.com/office/drawing/2014/main" id="{0A7E3A79-D8D0-CE6A-38AC-6399883B2A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3967"/>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C1E0948A-83CE-8958-BD2C-5598C28DBDB6}"/>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A406CB77-6FD0-B20E-CFED-28304D5BDA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3497"/>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5D067E55-E845-96B2-7979-8166C9F7060A}"/>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A picture containing chart&#10;&#10;Description automatically generated">
            <a:extLst>
              <a:ext uri="{FF2B5EF4-FFF2-40B4-BE49-F238E27FC236}">
                <a16:creationId xmlns:a16="http://schemas.microsoft.com/office/drawing/2014/main" id="{69E40E96-BFDC-1F29-B0B9-A3AD757200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145"/>
            <a:ext cx="6400800" cy="452637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F4AD9B2D-0422-25FD-929B-AD2A396B7C56}"/>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32BA42F7-D2E7-0C2F-3B0F-15E610CD1B42}"/>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Chart&#10;&#10;Description automatically generated">
            <a:extLst>
              <a:ext uri="{FF2B5EF4-FFF2-40B4-BE49-F238E27FC236}">
                <a16:creationId xmlns:a16="http://schemas.microsoft.com/office/drawing/2014/main" id="{96350255-1FC3-4BD0-CF6F-7DB93D85514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7227"/>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2B23CB87-71ED-A0D0-7330-C417223278A8}"/>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63504B0-C0D3-C6C1-5253-36CFC7E21ABF}"/>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6DBA611-97F1-FD55-BA08-0AD3D88DA98C}"/>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26213" y="2877439"/>
            <a:ext cx="1198148" cy="2041435"/>
            <a:chOff x="10485745" y="2988214"/>
            <a:chExt cx="1198148" cy="2041435"/>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523630"/>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0.2</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502964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988214"/>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988214"/>
              <a:ext cx="0" cy="53541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416182"/>
              <a:ext cx="0" cy="61346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76257" y="2543875"/>
            <a:ext cx="1198148" cy="2253324"/>
            <a:chOff x="2775759" y="2291483"/>
            <a:chExt cx="1198148" cy="2253324"/>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6399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8</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37046"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29148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291483"/>
              <a:ext cx="0" cy="672515"/>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6550"/>
              <a:ext cx="0" cy="6882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7C8A2EBE-4486-07F5-9399-37066B0681DA}"/>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CEC50541-8856-DAFB-E410-B33B6881644F}"/>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B799E87-EBEA-0226-CE74-DB813E15503B}"/>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33F05D80-F343-527F-D6F2-EF4E196002EB}"/>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52DD12D3-4352-5FEB-2F31-A64F0EFEA5D3}"/>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0252DA4B-3C78-7D83-3D1D-04746F399202}"/>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88E05F47-587D-8849-76F3-EA84451D53D1}"/>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47F5ECCD-C0C2-675A-F9EA-3BFF2F3E8B12}"/>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67</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39</cp:revision>
  <dcterms:created xsi:type="dcterms:W3CDTF">2022-07-04T13:32:28Z</dcterms:created>
  <dcterms:modified xsi:type="dcterms:W3CDTF">2023-03-11T20:05:58Z</dcterms:modified>
</cp:coreProperties>
</file>